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0D4302-2387-4764-82AE-56C6DD346B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F28E9E-8498-496C-8A94-9309D1998D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7584F9-BEB5-4EBA-B435-2A670BC2E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D9701-6EE4-493E-BD61-4873E9FB8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3DF5CE-7356-471F-8447-34475E568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9881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5A4FF-2654-4340-A7CC-D79FBE59C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563042-EB64-4809-825C-2C6711EC06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C0C2B6-DEB8-4DA7-940E-D9FDBFA58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5E9B81-7479-4E08-AE0C-B7738144B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58FFEA-A0C8-4FF5-98AD-D9C5401BC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8513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7279D7-A4F7-4CEA-917F-3DE8FA3258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EF2880-4B06-4A5A-B50B-E24D462369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997D6D-AC50-4D51-837B-BEA6DB25D4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9F1E20-98CC-42E2-B4F6-77BD2B1D1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0A7D4-80C0-41B2-9779-0250FD9B2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59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B23AF-9C37-45FF-B5CC-CCA8C1133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3FB189-7AE9-4CD4-AF26-F67A516854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7A9826-30F8-44D2-A2AB-15FBA2F21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3A5C20-69E2-4BE9-A237-B20176EC6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6CD04C-97A0-4780-99D4-54D3AD8CE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041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AADAE1-9F0C-4259-A819-F99DCEA18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A6A523-6B80-4DF1-AE0F-435B9B97BA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55D055-1D02-4B0F-BB6D-36131B0FD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EB51C6-9BB2-4E2B-885C-7FB2B5C7A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858B0A-57A8-4C09-B0DE-2F5B37874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335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23919-DDB1-4A06-B205-A487277DB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DD530D-988F-4471-AA41-B79F7C8873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DFCC86-7BB3-49CE-B62E-E463FE5D77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C097A2-AA1E-471C-8B39-34D809500C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23FCA4-7F5B-49D1-AFF4-378710839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D03309-E502-4CB2-BAE5-FC123E489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211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22E2C9-47B0-4125-9D1F-272D673C7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5DD961-1C1F-44CF-AE5C-C1DB73988C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8F8A43-EF38-4775-B653-E12DB3EB6C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A7250B-8491-4775-9C6B-986AA6490A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D87FBF0-7632-4A80-B24F-3B92B14796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C8211A-54E2-4C6A-8158-8E32B6591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81CBBE-D382-41E4-9F70-CCF228E06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4A6B87-67DA-4AC2-B975-0FB3B0D92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695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1D78D-25A6-448E-98AE-8CFE6F130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946A8-9F0D-41A0-BE3D-7CB52582E4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DCB790-33AB-475B-B769-390B2AA0F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8F3CF1-8B22-4CEE-9936-D7573140D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2925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AFCE0A-D3CE-415E-902A-B73C67E17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5C10D0-FFCB-4596-A564-686673C973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274595-E8D4-4139-A007-AA8333C49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47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B3C49B-0CAD-4966-ABE0-7F1649884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F24C5-EF66-43CE-9C03-595E22A5EA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D9DFDB-6902-46AB-BABC-B3F903B862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F3728E-2077-458D-B153-FE6E2B4444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1D230B-50A4-48B3-B4EB-38E6CA237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D4AD2-7CA0-4AF8-A605-D3CD7C4EB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142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440D1-5133-4CF3-AFE8-C0316A8BA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C080BF-EF8C-4F8F-BF28-DDCCA43915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A5A12D-9E89-462B-A911-C753533AA2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06F0A9-7948-4015-A62F-160843BA6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67386D-28CC-4C32-85F3-D188C9A9E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9EEC75-2E38-4491-98DC-13293EE0C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295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C6FF282-8DEF-490C-8A30-94017B651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12325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6CFB72-F4B2-434E-AEA1-25C6F8DA4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CFA291-B688-44F4-B1E1-BE4F51F238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07E2C0-DB80-455C-995A-6EA31FDFE2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24CD2A-BEE0-407E-904D-B72C57A490CC}" type="datetimeFigureOut">
              <a:rPr lang="en-US" smtClean="0"/>
              <a:t>24/0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125E52-F170-4DDC-9FAB-9BCA87B7A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3C3B0-A77C-41E5-9070-957D5F4160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421CA-BAFD-43ED-B9A8-F74EAF18D4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442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BBDBFF3-4D23-4DE6-AB1B-8D39EE4061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50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23395604-304C-4732-A8AE-738B2D80C27F}"/>
              </a:ext>
            </a:extLst>
          </p:cNvPr>
          <p:cNvSpPr txBox="1">
            <a:spLocks/>
          </p:cNvSpPr>
          <p:nvPr/>
        </p:nvSpPr>
        <p:spPr>
          <a:xfrm>
            <a:off x="772160" y="223838"/>
            <a:ext cx="9144000" cy="7572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dirty="0">
                <a:latin typeface="Georgia" panose="02040502050405020303" pitchFamily="18" charset="0"/>
              </a:rPr>
              <a:t>Workshop 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17059C-EB6D-44AE-B756-FE79134CEF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3250" y="1169988"/>
            <a:ext cx="5218430" cy="260417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1D9EB50-5641-454D-B2A2-EFC5541F24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9759" y="1169988"/>
            <a:ext cx="5458991" cy="257077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20045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CDEE2A-19EF-4F62-8E84-6C05357A6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747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2541D1-FD99-4B7C-BD84-DF2BBCBCB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160" y="223838"/>
            <a:ext cx="9144000" cy="757237"/>
          </a:xfrm>
        </p:spPr>
        <p:txBody>
          <a:bodyPr vert="horz">
            <a:normAutofit/>
          </a:bodyPr>
          <a:lstStyle/>
          <a:p>
            <a:pPr algn="l"/>
            <a:r>
              <a:rPr lang="en-US" sz="2800" dirty="0">
                <a:latin typeface="Georgia" panose="02040502050405020303" pitchFamily="18" charset="0"/>
              </a:rPr>
              <a:t>Workshop 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63E6ED-0F0A-4FBE-AE2E-50D1C5A0E9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024" y="1279843"/>
            <a:ext cx="5073424" cy="23675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CB5068-BFC2-42F6-AED8-FA70FC87F7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8525" y="2135188"/>
            <a:ext cx="5847376" cy="302450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97065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57,2,Workshop 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4</Words>
  <Application>Microsoft Office PowerPoint</Application>
  <PresentationFormat>Widescreen</PresentationFormat>
  <Paragraphs>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Georgia</vt:lpstr>
      <vt:lpstr>Office Theme</vt:lpstr>
      <vt:lpstr>think-cell Slide</vt:lpstr>
      <vt:lpstr>PowerPoint Presentation</vt:lpstr>
      <vt:lpstr>Workshop 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isal Khan (IN)</dc:creator>
  <cp:lastModifiedBy>Faisal Khan (IN)</cp:lastModifiedBy>
  <cp:revision>1</cp:revision>
  <dcterms:created xsi:type="dcterms:W3CDTF">2022-08-24T12:38:24Z</dcterms:created>
  <dcterms:modified xsi:type="dcterms:W3CDTF">2022-08-24T12:54:52Z</dcterms:modified>
</cp:coreProperties>
</file>